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270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138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51</c:f>
              <c:numCache>
                <c:formatCode>m/d/yyyy</c:formatCode>
                <c:ptCount val="25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</c:numCache>
            </c:numRef>
          </c:cat>
          <c:val>
            <c:numRef>
              <c:f>Sheet1!$D$2:$D$251</c:f>
              <c:numCache>
                <c:formatCode>#,##0</c:formatCode>
                <c:ptCount val="250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3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8</c:v>
                </c:pt>
                <c:pt idx="101">
                  <c:v>308</c:v>
                </c:pt>
                <c:pt idx="102">
                  <c:v>304</c:v>
                </c:pt>
                <c:pt idx="103">
                  <c:v>302</c:v>
                </c:pt>
                <c:pt idx="104">
                  <c:v>312</c:v>
                </c:pt>
                <c:pt idx="105">
                  <c:v>308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4</c:v>
                </c:pt>
                <c:pt idx="123">
                  <c:v>455</c:v>
                </c:pt>
                <c:pt idx="124">
                  <c:v>474</c:v>
                </c:pt>
                <c:pt idx="125">
                  <c:v>511</c:v>
                </c:pt>
                <c:pt idx="126">
                  <c:v>534</c:v>
                </c:pt>
                <c:pt idx="127">
                  <c:v>553</c:v>
                </c:pt>
                <c:pt idx="128">
                  <c:v>564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7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1</c:v>
                </c:pt>
                <c:pt idx="152">
                  <c:v>528</c:v>
                </c:pt>
                <c:pt idx="153">
                  <c:v>546</c:v>
                </c:pt>
                <c:pt idx="154">
                  <c:v>530</c:v>
                </c:pt>
                <c:pt idx="155">
                  <c:v>530</c:v>
                </c:pt>
                <c:pt idx="156">
                  <c:v>547</c:v>
                </c:pt>
                <c:pt idx="157">
                  <c:v>540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4</c:v>
                </c:pt>
                <c:pt idx="165">
                  <c:v>559</c:v>
                </c:pt>
                <c:pt idx="166">
                  <c:v>578</c:v>
                </c:pt>
                <c:pt idx="167">
                  <c:v>568</c:v>
                </c:pt>
                <c:pt idx="168">
                  <c:v>592</c:v>
                </c:pt>
                <c:pt idx="169">
                  <c:v>606</c:v>
                </c:pt>
                <c:pt idx="170">
                  <c:v>616</c:v>
                </c:pt>
                <c:pt idx="171">
                  <c:v>635</c:v>
                </c:pt>
                <c:pt idx="172">
                  <c:v>655</c:v>
                </c:pt>
                <c:pt idx="173">
                  <c:v>663</c:v>
                </c:pt>
                <c:pt idx="174">
                  <c:v>680</c:v>
                </c:pt>
                <c:pt idx="175">
                  <c:v>694</c:v>
                </c:pt>
                <c:pt idx="176">
                  <c:v>681</c:v>
                </c:pt>
                <c:pt idx="177">
                  <c:v>729</c:v>
                </c:pt>
                <c:pt idx="178">
                  <c:v>722</c:v>
                </c:pt>
                <c:pt idx="179">
                  <c:v>715</c:v>
                </c:pt>
                <c:pt idx="180">
                  <c:v>741</c:v>
                </c:pt>
                <c:pt idx="181">
                  <c:v>782</c:v>
                </c:pt>
                <c:pt idx="182">
                  <c:v>800</c:v>
                </c:pt>
                <c:pt idx="183">
                  <c:v>806</c:v>
                </c:pt>
                <c:pt idx="184">
                  <c:v>827</c:v>
                </c:pt>
                <c:pt idx="185">
                  <c:v>842</c:v>
                </c:pt>
                <c:pt idx="186">
                  <c:v>852</c:v>
                </c:pt>
                <c:pt idx="187">
                  <c:v>871</c:v>
                </c:pt>
                <c:pt idx="188">
                  <c:v>920</c:v>
                </c:pt>
                <c:pt idx="189">
                  <c:v>909</c:v>
                </c:pt>
                <c:pt idx="190">
                  <c:v>916</c:v>
                </c:pt>
                <c:pt idx="191">
                  <c:v>918</c:v>
                </c:pt>
                <c:pt idx="192">
                  <c:v>928</c:v>
                </c:pt>
                <c:pt idx="193">
                  <c:v>912</c:v>
                </c:pt>
                <c:pt idx="194">
                  <c:v>938</c:v>
                </c:pt>
                <c:pt idx="195">
                  <c:v>943</c:v>
                </c:pt>
                <c:pt idx="196">
                  <c:v>928</c:v>
                </c:pt>
                <c:pt idx="197">
                  <c:v>926</c:v>
                </c:pt>
                <c:pt idx="198">
                  <c:v>952</c:v>
                </c:pt>
                <c:pt idx="199">
                  <c:v>943</c:v>
                </c:pt>
                <c:pt idx="200">
                  <c:v>937</c:v>
                </c:pt>
                <c:pt idx="201">
                  <c:v>932</c:v>
                </c:pt>
                <c:pt idx="202">
                  <c:v>971</c:v>
                </c:pt>
                <c:pt idx="203">
                  <c:v>930</c:v>
                </c:pt>
                <c:pt idx="204">
                  <c:v>922</c:v>
                </c:pt>
                <c:pt idx="207">
                  <c:v>877</c:v>
                </c:pt>
                <c:pt idx="208">
                  <c:v>861</c:v>
                </c:pt>
                <c:pt idx="209">
                  <c:v>865</c:v>
                </c:pt>
                <c:pt idx="210">
                  <c:v>839</c:v>
                </c:pt>
                <c:pt idx="211">
                  <c:v>811</c:v>
                </c:pt>
                <c:pt idx="212">
                  <c:v>788</c:v>
                </c:pt>
                <c:pt idx="213">
                  <c:v>761</c:v>
                </c:pt>
                <c:pt idx="214">
                  <c:v>724</c:v>
                </c:pt>
                <c:pt idx="215">
                  <c:v>713</c:v>
                </c:pt>
                <c:pt idx="216">
                  <c:v>709</c:v>
                </c:pt>
                <c:pt idx="217">
                  <c:v>730</c:v>
                </c:pt>
                <c:pt idx="218">
                  <c:v>705</c:v>
                </c:pt>
                <c:pt idx="219">
                  <c:v>671</c:v>
                </c:pt>
                <c:pt idx="220">
                  <c:v>628</c:v>
                </c:pt>
                <c:pt idx="221">
                  <c:v>605</c:v>
                </c:pt>
                <c:pt idx="222">
                  <c:v>606</c:v>
                </c:pt>
                <c:pt idx="223">
                  <c:v>597</c:v>
                </c:pt>
                <c:pt idx="224">
                  <c:v>574</c:v>
                </c:pt>
                <c:pt idx="225">
                  <c:v>541</c:v>
                </c:pt>
                <c:pt idx="226">
                  <c:v>524</c:v>
                </c:pt>
                <c:pt idx="227">
                  <c:v>518</c:v>
                </c:pt>
                <c:pt idx="228">
                  <c:v>491</c:v>
                </c:pt>
                <c:pt idx="229">
                  <c:v>496</c:v>
                </c:pt>
                <c:pt idx="230">
                  <c:v>493</c:v>
                </c:pt>
                <c:pt idx="231">
                  <c:v>477</c:v>
                </c:pt>
                <c:pt idx="232">
                  <c:v>466</c:v>
                </c:pt>
                <c:pt idx="233">
                  <c:v>419</c:v>
                </c:pt>
                <c:pt idx="234">
                  <c:v>402</c:v>
                </c:pt>
                <c:pt idx="235">
                  <c:v>378</c:v>
                </c:pt>
                <c:pt idx="236">
                  <c:v>372</c:v>
                </c:pt>
                <c:pt idx="237">
                  <c:v>362</c:v>
                </c:pt>
                <c:pt idx="238">
                  <c:v>360</c:v>
                </c:pt>
                <c:pt idx="239">
                  <c:v>335</c:v>
                </c:pt>
                <c:pt idx="240">
                  <c:v>305</c:v>
                </c:pt>
                <c:pt idx="241">
                  <c:v>279</c:v>
                </c:pt>
                <c:pt idx="242">
                  <c:v>265</c:v>
                </c:pt>
                <c:pt idx="243" formatCode="General">
                  <c:v>271</c:v>
                </c:pt>
                <c:pt idx="244" formatCode="General">
                  <c:v>268</c:v>
                </c:pt>
                <c:pt idx="245" formatCode="General">
                  <c:v>252</c:v>
                </c:pt>
                <c:pt idx="246" formatCode="General">
                  <c:v>228</c:v>
                </c:pt>
                <c:pt idx="247" formatCode="General">
                  <c:v>216</c:v>
                </c:pt>
                <c:pt idx="248" formatCode="General">
                  <c:v>202</c:v>
                </c:pt>
                <c:pt idx="249" formatCode="General">
                  <c:v>1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42"/>
              <c:layout>
                <c:manualLayout>
                  <c:x val="-6.4755776393715121E-3"/>
                  <c:y val="-4.5830551623343069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39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C11D-4C2F-96AD-66CF0CE2ACC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51</c:f>
              <c:numCache>
                <c:formatCode>m/d/yyyy</c:formatCode>
                <c:ptCount val="25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</c:numCache>
            </c:numRef>
          </c:cat>
          <c:val>
            <c:numRef>
              <c:f>Sheet1!$B$2:$B$251</c:f>
              <c:numCache>
                <c:formatCode>#,##0</c:formatCode>
                <c:ptCount val="250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>
                  <c:v>528</c:v>
                </c:pt>
                <c:pt idx="230">
                  <c:v>552</c:v>
                </c:pt>
                <c:pt idx="231">
                  <c:v>593</c:v>
                </c:pt>
                <c:pt idx="232">
                  <c:v>554</c:v>
                </c:pt>
                <c:pt idx="233">
                  <c:v>595</c:v>
                </c:pt>
                <c:pt idx="234">
                  <c:v>613</c:v>
                </c:pt>
                <c:pt idx="235">
                  <c:v>618</c:v>
                </c:pt>
                <c:pt idx="236">
                  <c:v>617</c:v>
                </c:pt>
                <c:pt idx="237">
                  <c:v>605</c:v>
                </c:pt>
                <c:pt idx="238">
                  <c:v>586</c:v>
                </c:pt>
                <c:pt idx="239">
                  <c:v>613</c:v>
                </c:pt>
                <c:pt idx="240">
                  <c:v>620</c:v>
                </c:pt>
                <c:pt idx="241">
                  <c:v>632</c:v>
                </c:pt>
                <c:pt idx="242">
                  <c:v>652</c:v>
                </c:pt>
                <c:pt idx="243" formatCode="General">
                  <c:v>657</c:v>
                </c:pt>
                <c:pt idx="244" formatCode="General">
                  <c:v>642</c:v>
                </c:pt>
                <c:pt idx="245" formatCode="General">
                  <c:v>617</c:v>
                </c:pt>
                <c:pt idx="246" formatCode="General">
                  <c:v>625</c:v>
                </c:pt>
                <c:pt idx="247" formatCode="General">
                  <c:v>645</c:v>
                </c:pt>
                <c:pt idx="248" formatCode="General">
                  <c:v>650</c:v>
                </c:pt>
                <c:pt idx="249" formatCode="General">
                  <c:v>6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51</c:f>
              <c:numCache>
                <c:formatCode>m/d/yyyy</c:formatCode>
                <c:ptCount val="25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</c:numCache>
            </c:numRef>
          </c:cat>
          <c:val>
            <c:numRef>
              <c:f>Sheet1!$C$2:$C$251</c:f>
              <c:numCache>
                <c:formatCode>#,##0</c:formatCode>
                <c:ptCount val="25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51</c:f>
              <c:numCache>
                <c:formatCode>m/d/yyyy</c:formatCode>
                <c:ptCount val="25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</c:numCache>
            </c:numRef>
          </c:cat>
          <c:val>
            <c:numRef>
              <c:f>Sheet1!$D$2:$D$251</c:f>
              <c:numCache>
                <c:formatCode>#,##0</c:formatCode>
                <c:ptCount val="250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2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6</c:v>
                </c:pt>
                <c:pt idx="56">
                  <c:v>2972</c:v>
                </c:pt>
                <c:pt idx="57">
                  <c:v>3035</c:v>
                </c:pt>
                <c:pt idx="58">
                  <c:v>3251</c:v>
                </c:pt>
                <c:pt idx="59">
                  <c:v>3298</c:v>
                </c:pt>
                <c:pt idx="60">
                  <c:v>3360</c:v>
                </c:pt>
                <c:pt idx="61">
                  <c:v>3443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4</c:v>
                </c:pt>
                <c:pt idx="67">
                  <c:v>3350</c:v>
                </c:pt>
                <c:pt idx="68">
                  <c:v>3354</c:v>
                </c:pt>
                <c:pt idx="69">
                  <c:v>3290</c:v>
                </c:pt>
                <c:pt idx="70">
                  <c:v>3196</c:v>
                </c:pt>
                <c:pt idx="71">
                  <c:v>2967</c:v>
                </c:pt>
                <c:pt idx="72">
                  <c:v>2890</c:v>
                </c:pt>
                <c:pt idx="73">
                  <c:v>2750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4</c:v>
                </c:pt>
                <c:pt idx="82">
                  <c:v>2129</c:v>
                </c:pt>
                <c:pt idx="83">
                  <c:v>2158</c:v>
                </c:pt>
                <c:pt idx="84">
                  <c:v>2097</c:v>
                </c:pt>
                <c:pt idx="85">
                  <c:v>2023</c:v>
                </c:pt>
                <c:pt idx="86">
                  <c:v>1933</c:v>
                </c:pt>
                <c:pt idx="87">
                  <c:v>1809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7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0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2</c:v>
                </c:pt>
                <c:pt idx="127">
                  <c:v>3084</c:v>
                </c:pt>
                <c:pt idx="128">
                  <c:v>3077</c:v>
                </c:pt>
                <c:pt idx="129">
                  <c:v>2935</c:v>
                </c:pt>
                <c:pt idx="130">
                  <c:v>2966</c:v>
                </c:pt>
                <c:pt idx="131">
                  <c:v>2973</c:v>
                </c:pt>
                <c:pt idx="132">
                  <c:v>2975</c:v>
                </c:pt>
                <c:pt idx="133">
                  <c:v>3043</c:v>
                </c:pt>
                <c:pt idx="134">
                  <c:v>2965</c:v>
                </c:pt>
                <c:pt idx="135">
                  <c:v>2924</c:v>
                </c:pt>
                <c:pt idx="136">
                  <c:v>2872</c:v>
                </c:pt>
                <c:pt idx="137">
                  <c:v>2757</c:v>
                </c:pt>
                <c:pt idx="138">
                  <c:v>2745</c:v>
                </c:pt>
                <c:pt idx="139">
                  <c:v>2703</c:v>
                </c:pt>
                <c:pt idx="140">
                  <c:v>2640</c:v>
                </c:pt>
                <c:pt idx="141">
                  <c:v>2595</c:v>
                </c:pt>
                <c:pt idx="142">
                  <c:v>2590</c:v>
                </c:pt>
                <c:pt idx="143">
                  <c:v>2555</c:v>
                </c:pt>
                <c:pt idx="144">
                  <c:v>2521</c:v>
                </c:pt>
                <c:pt idx="145">
                  <c:v>2522</c:v>
                </c:pt>
                <c:pt idx="146">
                  <c:v>2545</c:v>
                </c:pt>
                <c:pt idx="147">
                  <c:v>2526</c:v>
                </c:pt>
                <c:pt idx="148">
                  <c:v>2418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7</c:v>
                </c:pt>
                <c:pt idx="158">
                  <c:v>2345</c:v>
                </c:pt>
                <c:pt idx="159">
                  <c:v>2409</c:v>
                </c:pt>
                <c:pt idx="160">
                  <c:v>2472</c:v>
                </c:pt>
                <c:pt idx="161">
                  <c:v>2489</c:v>
                </c:pt>
                <c:pt idx="162">
                  <c:v>2419</c:v>
                </c:pt>
                <c:pt idx="163">
                  <c:v>2453</c:v>
                </c:pt>
                <c:pt idx="164">
                  <c:v>2404</c:v>
                </c:pt>
                <c:pt idx="165">
                  <c:v>2470</c:v>
                </c:pt>
                <c:pt idx="166">
                  <c:v>2588</c:v>
                </c:pt>
                <c:pt idx="167">
                  <c:v>2620</c:v>
                </c:pt>
                <c:pt idx="168">
                  <c:v>2651</c:v>
                </c:pt>
                <c:pt idx="169">
                  <c:v>2715</c:v>
                </c:pt>
                <c:pt idx="170">
                  <c:v>2756</c:v>
                </c:pt>
                <c:pt idx="171">
                  <c:v>2677</c:v>
                </c:pt>
                <c:pt idx="172">
                  <c:v>2684</c:v>
                </c:pt>
                <c:pt idx="173">
                  <c:v>2806</c:v>
                </c:pt>
                <c:pt idx="174">
                  <c:v>3000</c:v>
                </c:pt>
                <c:pt idx="175">
                  <c:v>3019</c:v>
                </c:pt>
                <c:pt idx="176">
                  <c:v>3030</c:v>
                </c:pt>
                <c:pt idx="177">
                  <c:v>3041</c:v>
                </c:pt>
                <c:pt idx="178">
                  <c:v>3127</c:v>
                </c:pt>
                <c:pt idx="179">
                  <c:v>3233</c:v>
                </c:pt>
                <c:pt idx="180">
                  <c:v>3371</c:v>
                </c:pt>
                <c:pt idx="181">
                  <c:v>3575</c:v>
                </c:pt>
                <c:pt idx="182">
                  <c:v>3620</c:v>
                </c:pt>
                <c:pt idx="183">
                  <c:v>3596</c:v>
                </c:pt>
                <c:pt idx="184">
                  <c:v>3680</c:v>
                </c:pt>
                <c:pt idx="185">
                  <c:v>3707</c:v>
                </c:pt>
                <c:pt idx="186">
                  <c:v>3787</c:v>
                </c:pt>
                <c:pt idx="187">
                  <c:v>3875</c:v>
                </c:pt>
                <c:pt idx="188">
                  <c:v>3927</c:v>
                </c:pt>
                <c:pt idx="189">
                  <c:v>3943</c:v>
                </c:pt>
                <c:pt idx="190">
                  <c:v>3956</c:v>
                </c:pt>
                <c:pt idx="191">
                  <c:v>3926</c:v>
                </c:pt>
                <c:pt idx="192">
                  <c:v>3862</c:v>
                </c:pt>
                <c:pt idx="193">
                  <c:v>3973</c:v>
                </c:pt>
                <c:pt idx="194">
                  <c:v>4042</c:v>
                </c:pt>
                <c:pt idx="195">
                  <c:v>4188</c:v>
                </c:pt>
                <c:pt idx="196">
                  <c:v>4103</c:v>
                </c:pt>
                <c:pt idx="197">
                  <c:v>4024</c:v>
                </c:pt>
                <c:pt idx="198">
                  <c:v>3995</c:v>
                </c:pt>
                <c:pt idx="199">
                  <c:v>3792</c:v>
                </c:pt>
                <c:pt idx="200">
                  <c:v>3718</c:v>
                </c:pt>
                <c:pt idx="201">
                  <c:v>3795</c:v>
                </c:pt>
                <c:pt idx="202">
                  <c:v>3812</c:v>
                </c:pt>
                <c:pt idx="203">
                  <c:v>3682</c:v>
                </c:pt>
                <c:pt idx="204">
                  <c:v>3538</c:v>
                </c:pt>
                <c:pt idx="207">
                  <c:v>3355</c:v>
                </c:pt>
                <c:pt idx="208">
                  <c:v>3384</c:v>
                </c:pt>
                <c:pt idx="209">
                  <c:v>3357</c:v>
                </c:pt>
                <c:pt idx="210">
                  <c:v>3283</c:v>
                </c:pt>
                <c:pt idx="211">
                  <c:v>3147</c:v>
                </c:pt>
                <c:pt idx="212">
                  <c:v>2999</c:v>
                </c:pt>
                <c:pt idx="213">
                  <c:v>2814</c:v>
                </c:pt>
                <c:pt idx="214">
                  <c:v>2771</c:v>
                </c:pt>
                <c:pt idx="215">
                  <c:v>2831</c:v>
                </c:pt>
                <c:pt idx="216">
                  <c:v>2844</c:v>
                </c:pt>
                <c:pt idx="217">
                  <c:v>3043</c:v>
                </c:pt>
                <c:pt idx="218">
                  <c:v>2867</c:v>
                </c:pt>
                <c:pt idx="219">
                  <c:v>2688</c:v>
                </c:pt>
                <c:pt idx="220">
                  <c:v>2417</c:v>
                </c:pt>
                <c:pt idx="221">
                  <c:v>2322</c:v>
                </c:pt>
                <c:pt idx="222">
                  <c:v>2337</c:v>
                </c:pt>
                <c:pt idx="223">
                  <c:v>2332</c:v>
                </c:pt>
                <c:pt idx="224">
                  <c:v>2238</c:v>
                </c:pt>
                <c:pt idx="225">
                  <c:v>2108</c:v>
                </c:pt>
                <c:pt idx="226">
                  <c:v>1931</c:v>
                </c:pt>
                <c:pt idx="227">
                  <c:v>1785</c:v>
                </c:pt>
                <c:pt idx="228">
                  <c:v>1749</c:v>
                </c:pt>
                <c:pt idx="229">
                  <c:v>1756</c:v>
                </c:pt>
                <c:pt idx="230">
                  <c:v>1811</c:v>
                </c:pt>
                <c:pt idx="231">
                  <c:v>1708</c:v>
                </c:pt>
                <c:pt idx="232">
                  <c:v>1614</c:v>
                </c:pt>
                <c:pt idx="233">
                  <c:v>1528</c:v>
                </c:pt>
                <c:pt idx="234">
                  <c:v>1425</c:v>
                </c:pt>
                <c:pt idx="235">
                  <c:v>1356</c:v>
                </c:pt>
                <c:pt idx="236">
                  <c:v>1356</c:v>
                </c:pt>
                <c:pt idx="237">
                  <c:v>1304</c:v>
                </c:pt>
                <c:pt idx="238">
                  <c:v>1280</c:v>
                </c:pt>
                <c:pt idx="239">
                  <c:v>1241</c:v>
                </c:pt>
                <c:pt idx="240">
                  <c:v>1187</c:v>
                </c:pt>
                <c:pt idx="241">
                  <c:v>1141</c:v>
                </c:pt>
                <c:pt idx="242">
                  <c:v>1147</c:v>
                </c:pt>
                <c:pt idx="243">
                  <c:v>1138</c:v>
                </c:pt>
                <c:pt idx="244">
                  <c:v>1134</c:v>
                </c:pt>
                <c:pt idx="245">
                  <c:v>1062</c:v>
                </c:pt>
                <c:pt idx="246">
                  <c:v>991</c:v>
                </c:pt>
                <c:pt idx="247" formatCode="General">
                  <c:v>933</c:v>
                </c:pt>
                <c:pt idx="248" formatCode="General">
                  <c:v>873</c:v>
                </c:pt>
                <c:pt idx="249" formatCode="General">
                  <c:v>8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35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BF71-4F3F-B6D3-283E975E68D4}"/>
                </c:ext>
              </c:extLst>
            </c:dLbl>
            <c:dLbl>
              <c:idx val="242"/>
              <c:layout>
                <c:manualLayout>
                  <c:x val="0"/>
                  <c:y val="-5.3886854577624647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 675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BF71-4F3F-B6D3-283E975E68D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51</c:f>
              <c:numCache>
                <c:formatCode>m/d/yyyy</c:formatCode>
                <c:ptCount val="25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</c:numCache>
            </c:numRef>
          </c:cat>
          <c:val>
            <c:numRef>
              <c:f>Sheet1!$B$2:$B$251</c:f>
              <c:numCache>
                <c:formatCode>#,##0</c:formatCode>
                <c:ptCount val="250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  <c:pt idx="233">
                  <c:v>6341</c:v>
                </c:pt>
                <c:pt idx="234">
                  <c:v>6541</c:v>
                </c:pt>
                <c:pt idx="235">
                  <c:v>6698</c:v>
                </c:pt>
                <c:pt idx="236">
                  <c:v>6777</c:v>
                </c:pt>
                <c:pt idx="237">
                  <c:v>6693</c:v>
                </c:pt>
                <c:pt idx="238">
                  <c:v>6438</c:v>
                </c:pt>
                <c:pt idx="239">
                  <c:v>6257</c:v>
                </c:pt>
                <c:pt idx="240">
                  <c:v>6287</c:v>
                </c:pt>
                <c:pt idx="241">
                  <c:v>6605</c:v>
                </c:pt>
                <c:pt idx="242">
                  <c:v>6762</c:v>
                </c:pt>
                <c:pt idx="243">
                  <c:v>6758</c:v>
                </c:pt>
                <c:pt idx="244">
                  <c:v>6648</c:v>
                </c:pt>
                <c:pt idx="245">
                  <c:v>6485</c:v>
                </c:pt>
                <c:pt idx="246">
                  <c:v>6269</c:v>
                </c:pt>
                <c:pt idx="247">
                  <c:v>6208</c:v>
                </c:pt>
                <c:pt idx="248">
                  <c:v>6402</c:v>
                </c:pt>
                <c:pt idx="249">
                  <c:v>66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51</c:f>
              <c:numCache>
                <c:formatCode>m/d/yyyy</c:formatCode>
                <c:ptCount val="25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</c:numCache>
            </c:numRef>
          </c:cat>
          <c:val>
            <c:numRef>
              <c:f>Sheet1!$C$2:$C$251</c:f>
              <c:numCache>
                <c:formatCode>#,##0</c:formatCode>
                <c:ptCount val="25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51</c:f>
              <c:numCache>
                <c:formatCode>m/d/yyyy</c:formatCode>
                <c:ptCount val="25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</c:numCache>
            </c:numRef>
          </c:cat>
          <c:val>
            <c:numRef>
              <c:f>Sheet1!$D$2:$D$251</c:f>
              <c:numCache>
                <c:formatCode>#,##0</c:formatCode>
                <c:ptCount val="25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4</c:v>
                </c:pt>
                <c:pt idx="199">
                  <c:v>35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5</c:v>
                </c:pt>
                <c:pt idx="213">
                  <c:v>29</c:v>
                </c:pt>
                <c:pt idx="214">
                  <c:v>29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8</c:v>
                </c:pt>
                <c:pt idx="225">
                  <c:v>17</c:v>
                </c:pt>
                <c:pt idx="226">
                  <c:v>18</c:v>
                </c:pt>
                <c:pt idx="227">
                  <c:v>18</c:v>
                </c:pt>
                <c:pt idx="228">
                  <c:v>18</c:v>
                </c:pt>
                <c:pt idx="229">
                  <c:v>19</c:v>
                </c:pt>
                <c:pt idx="230">
                  <c:v>22</c:v>
                </c:pt>
                <c:pt idx="231">
                  <c:v>19</c:v>
                </c:pt>
                <c:pt idx="232">
                  <c:v>21</c:v>
                </c:pt>
                <c:pt idx="233">
                  <c:v>22</c:v>
                </c:pt>
                <c:pt idx="234">
                  <c:v>20</c:v>
                </c:pt>
                <c:pt idx="235">
                  <c:v>18</c:v>
                </c:pt>
                <c:pt idx="236">
                  <c:v>16</c:v>
                </c:pt>
                <c:pt idx="237">
                  <c:v>15</c:v>
                </c:pt>
                <c:pt idx="238">
                  <c:v>18</c:v>
                </c:pt>
                <c:pt idx="239">
                  <c:v>19</c:v>
                </c:pt>
                <c:pt idx="240">
                  <c:v>19</c:v>
                </c:pt>
                <c:pt idx="241">
                  <c:v>18</c:v>
                </c:pt>
                <c:pt idx="242">
                  <c:v>17</c:v>
                </c:pt>
                <c:pt idx="243" formatCode="General">
                  <c:v>18</c:v>
                </c:pt>
                <c:pt idx="244" formatCode="General">
                  <c:v>16</c:v>
                </c:pt>
                <c:pt idx="245" formatCode="General">
                  <c:v>17</c:v>
                </c:pt>
                <c:pt idx="246" formatCode="General">
                  <c:v>18</c:v>
                </c:pt>
                <c:pt idx="247" formatCode="General">
                  <c:v>19</c:v>
                </c:pt>
                <c:pt idx="248" formatCode="General">
                  <c:v>16</c:v>
                </c:pt>
                <c:pt idx="249" formatCode="General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42"/>
              <c:tx>
                <c:rich>
                  <a:bodyPr/>
                  <a:lstStyle/>
                  <a:p>
                    <a:r>
                      <a:rPr lang="en-US" dirty="0"/>
                      <a:t>51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BD66-4A3F-B3DF-E765AF4FAB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51</c:f>
              <c:numCache>
                <c:formatCode>m/d/yyyy</c:formatCode>
                <c:ptCount val="25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</c:numCache>
            </c:numRef>
          </c:cat>
          <c:val>
            <c:numRef>
              <c:f>Sheet1!$B$2:$B$251</c:f>
              <c:numCache>
                <c:formatCode>#,##0</c:formatCode>
                <c:ptCount val="250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>
                  <c:v>46</c:v>
                </c:pt>
                <c:pt idx="230">
                  <c:v>42</c:v>
                </c:pt>
                <c:pt idx="231">
                  <c:v>42</c:v>
                </c:pt>
                <c:pt idx="232">
                  <c:v>41</c:v>
                </c:pt>
                <c:pt idx="233">
                  <c:v>40</c:v>
                </c:pt>
                <c:pt idx="234">
                  <c:v>40</c:v>
                </c:pt>
                <c:pt idx="235">
                  <c:v>40</c:v>
                </c:pt>
                <c:pt idx="236">
                  <c:v>42</c:v>
                </c:pt>
                <c:pt idx="237">
                  <c:v>40</c:v>
                </c:pt>
                <c:pt idx="238">
                  <c:v>38</c:v>
                </c:pt>
                <c:pt idx="239">
                  <c:v>40</c:v>
                </c:pt>
                <c:pt idx="240">
                  <c:v>41</c:v>
                </c:pt>
                <c:pt idx="241">
                  <c:v>49</c:v>
                </c:pt>
                <c:pt idx="242">
                  <c:v>50</c:v>
                </c:pt>
                <c:pt idx="243" formatCode="m/d/yyyy">
                  <c:v>49</c:v>
                </c:pt>
                <c:pt idx="244" formatCode="m/d/yyyy">
                  <c:v>48</c:v>
                </c:pt>
                <c:pt idx="245" formatCode="m/d/yyyy">
                  <c:v>51</c:v>
                </c:pt>
                <c:pt idx="246" formatCode="m/d/yyyy">
                  <c:v>48</c:v>
                </c:pt>
                <c:pt idx="247" formatCode="m/d/yyyy">
                  <c:v>50</c:v>
                </c:pt>
                <c:pt idx="248" formatCode="m/d/yyyy">
                  <c:v>52</c:v>
                </c:pt>
                <c:pt idx="249" formatCode="m/d/yyyy">
                  <c:v>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51</c:f>
              <c:numCache>
                <c:formatCode>m/d/yyyy</c:formatCode>
                <c:ptCount val="25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</c:numCache>
            </c:numRef>
          </c:cat>
          <c:val>
            <c:numRef>
              <c:f>Sheet1!$C$2:$C$251</c:f>
              <c:numCache>
                <c:formatCode>#,##0</c:formatCode>
                <c:ptCount val="25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01769606503E-2"/>
          <c:y val="3.4628599943211873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51</c:f>
              <c:numCache>
                <c:formatCode>m/d/yyyy</c:formatCode>
                <c:ptCount val="25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</c:numCache>
            </c:numRef>
          </c:cat>
          <c:val>
            <c:numRef>
              <c:f>Sheet1!$D$2:$D$251</c:f>
              <c:numCache>
                <c:formatCode>#,##0</c:formatCode>
                <c:ptCount val="250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5</c:v>
                </c:pt>
                <c:pt idx="68">
                  <c:v>1166</c:v>
                </c:pt>
                <c:pt idx="69">
                  <c:v>1180</c:v>
                </c:pt>
                <c:pt idx="70">
                  <c:v>1167</c:v>
                </c:pt>
                <c:pt idx="71">
                  <c:v>1108</c:v>
                </c:pt>
                <c:pt idx="72">
                  <c:v>1104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8</c:v>
                </c:pt>
                <c:pt idx="84">
                  <c:v>877</c:v>
                </c:pt>
                <c:pt idx="85">
                  <c:v>853</c:v>
                </c:pt>
                <c:pt idx="86">
                  <c:v>840</c:v>
                </c:pt>
                <c:pt idx="87">
                  <c:v>795</c:v>
                </c:pt>
                <c:pt idx="88">
                  <c:v>776</c:v>
                </c:pt>
                <c:pt idx="89">
                  <c:v>761</c:v>
                </c:pt>
                <c:pt idx="90">
                  <c:v>786</c:v>
                </c:pt>
                <c:pt idx="91">
                  <c:v>728</c:v>
                </c:pt>
                <c:pt idx="92">
                  <c:v>712</c:v>
                </c:pt>
                <c:pt idx="93">
                  <c:v>714</c:v>
                </c:pt>
                <c:pt idx="94">
                  <c:v>710</c:v>
                </c:pt>
                <c:pt idx="95">
                  <c:v>685</c:v>
                </c:pt>
                <c:pt idx="96">
                  <c:v>672</c:v>
                </c:pt>
                <c:pt idx="97">
                  <c:v>710</c:v>
                </c:pt>
                <c:pt idx="98">
                  <c:v>698</c:v>
                </c:pt>
                <c:pt idx="99">
                  <c:v>684</c:v>
                </c:pt>
                <c:pt idx="100">
                  <c:v>709</c:v>
                </c:pt>
                <c:pt idx="101">
                  <c:v>697</c:v>
                </c:pt>
                <c:pt idx="102">
                  <c:v>693</c:v>
                </c:pt>
                <c:pt idx="103">
                  <c:v>707</c:v>
                </c:pt>
                <c:pt idx="104">
                  <c:v>725</c:v>
                </c:pt>
                <c:pt idx="105">
                  <c:v>722</c:v>
                </c:pt>
                <c:pt idx="106">
                  <c:v>734</c:v>
                </c:pt>
                <c:pt idx="107">
                  <c:v>723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8</c:v>
                </c:pt>
                <c:pt idx="123">
                  <c:v>958</c:v>
                </c:pt>
                <c:pt idx="124">
                  <c:v>1004</c:v>
                </c:pt>
                <c:pt idx="125">
                  <c:v>1090</c:v>
                </c:pt>
                <c:pt idx="126">
                  <c:v>1111</c:v>
                </c:pt>
                <c:pt idx="127">
                  <c:v>1149</c:v>
                </c:pt>
                <c:pt idx="128">
                  <c:v>1148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69</c:v>
                </c:pt>
                <c:pt idx="135">
                  <c:v>1178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7</c:v>
                </c:pt>
                <c:pt idx="151">
                  <c:v>1021</c:v>
                </c:pt>
                <c:pt idx="152">
                  <c:v>1039</c:v>
                </c:pt>
                <c:pt idx="153">
                  <c:v>1078</c:v>
                </c:pt>
                <c:pt idx="154">
                  <c:v>1089</c:v>
                </c:pt>
                <c:pt idx="155">
                  <c:v>1076</c:v>
                </c:pt>
                <c:pt idx="156">
                  <c:v>1102</c:v>
                </c:pt>
                <c:pt idx="157">
                  <c:v>1088</c:v>
                </c:pt>
                <c:pt idx="158">
                  <c:v>1072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0</c:v>
                </c:pt>
                <c:pt idx="165">
                  <c:v>1104</c:v>
                </c:pt>
                <c:pt idx="166">
                  <c:v>1145</c:v>
                </c:pt>
                <c:pt idx="167">
                  <c:v>1169</c:v>
                </c:pt>
                <c:pt idx="168">
                  <c:v>1212</c:v>
                </c:pt>
                <c:pt idx="169">
                  <c:v>1240</c:v>
                </c:pt>
                <c:pt idx="170">
                  <c:v>1265</c:v>
                </c:pt>
                <c:pt idx="171">
                  <c:v>1269</c:v>
                </c:pt>
                <c:pt idx="172">
                  <c:v>1267</c:v>
                </c:pt>
                <c:pt idx="173">
                  <c:v>1280</c:v>
                </c:pt>
                <c:pt idx="174">
                  <c:v>1360</c:v>
                </c:pt>
                <c:pt idx="175">
                  <c:v>1389</c:v>
                </c:pt>
                <c:pt idx="176">
                  <c:v>1408</c:v>
                </c:pt>
                <c:pt idx="177">
                  <c:v>1463</c:v>
                </c:pt>
                <c:pt idx="178">
                  <c:v>1439</c:v>
                </c:pt>
                <c:pt idx="179">
                  <c:v>1466</c:v>
                </c:pt>
                <c:pt idx="180">
                  <c:v>1503</c:v>
                </c:pt>
                <c:pt idx="181">
                  <c:v>1586</c:v>
                </c:pt>
                <c:pt idx="182">
                  <c:v>1598</c:v>
                </c:pt>
                <c:pt idx="183">
                  <c:v>1625</c:v>
                </c:pt>
                <c:pt idx="184">
                  <c:v>1651</c:v>
                </c:pt>
                <c:pt idx="185">
                  <c:v>1671</c:v>
                </c:pt>
                <c:pt idx="186">
                  <c:v>1675</c:v>
                </c:pt>
                <c:pt idx="187">
                  <c:v>1677</c:v>
                </c:pt>
                <c:pt idx="188">
                  <c:v>1773</c:v>
                </c:pt>
                <c:pt idx="189">
                  <c:v>1802</c:v>
                </c:pt>
                <c:pt idx="190">
                  <c:v>1831</c:v>
                </c:pt>
                <c:pt idx="191">
                  <c:v>1821</c:v>
                </c:pt>
                <c:pt idx="192">
                  <c:v>1833</c:v>
                </c:pt>
                <c:pt idx="193">
                  <c:v>1782</c:v>
                </c:pt>
                <c:pt idx="194">
                  <c:v>1829</c:v>
                </c:pt>
                <c:pt idx="195">
                  <c:v>1886</c:v>
                </c:pt>
                <c:pt idx="196">
                  <c:v>1893</c:v>
                </c:pt>
                <c:pt idx="197">
                  <c:v>1861</c:v>
                </c:pt>
                <c:pt idx="198">
                  <c:v>1859</c:v>
                </c:pt>
                <c:pt idx="199">
                  <c:v>1818</c:v>
                </c:pt>
                <c:pt idx="200">
                  <c:v>1778</c:v>
                </c:pt>
                <c:pt idx="201">
                  <c:v>1802</c:v>
                </c:pt>
                <c:pt idx="202">
                  <c:v>1822</c:v>
                </c:pt>
                <c:pt idx="203">
                  <c:v>1775</c:v>
                </c:pt>
                <c:pt idx="204">
                  <c:v>1743</c:v>
                </c:pt>
                <c:pt idx="207">
                  <c:v>1643</c:v>
                </c:pt>
                <c:pt idx="208">
                  <c:v>1652</c:v>
                </c:pt>
                <c:pt idx="209">
                  <c:v>1662</c:v>
                </c:pt>
                <c:pt idx="210">
                  <c:v>1612</c:v>
                </c:pt>
                <c:pt idx="211">
                  <c:v>1553</c:v>
                </c:pt>
                <c:pt idx="212">
                  <c:v>1505</c:v>
                </c:pt>
                <c:pt idx="213">
                  <c:v>1424</c:v>
                </c:pt>
                <c:pt idx="214">
                  <c:v>1399</c:v>
                </c:pt>
                <c:pt idx="215">
                  <c:v>1379</c:v>
                </c:pt>
                <c:pt idx="216">
                  <c:v>1345</c:v>
                </c:pt>
                <c:pt idx="217">
                  <c:v>1395</c:v>
                </c:pt>
                <c:pt idx="218">
                  <c:v>1363</c:v>
                </c:pt>
                <c:pt idx="219">
                  <c:v>1314</c:v>
                </c:pt>
                <c:pt idx="220">
                  <c:v>1236</c:v>
                </c:pt>
                <c:pt idx="221">
                  <c:v>1220</c:v>
                </c:pt>
                <c:pt idx="222">
                  <c:v>1203</c:v>
                </c:pt>
                <c:pt idx="223">
                  <c:v>1189</c:v>
                </c:pt>
                <c:pt idx="224">
                  <c:v>1160</c:v>
                </c:pt>
                <c:pt idx="225">
                  <c:v>1116</c:v>
                </c:pt>
                <c:pt idx="226">
                  <c:v>1037</c:v>
                </c:pt>
                <c:pt idx="227">
                  <c:v>1016</c:v>
                </c:pt>
                <c:pt idx="228">
                  <c:v>976</c:v>
                </c:pt>
                <c:pt idx="229">
                  <c:v>978</c:v>
                </c:pt>
                <c:pt idx="230">
                  <c:v>997</c:v>
                </c:pt>
                <c:pt idx="231">
                  <c:v>946</c:v>
                </c:pt>
                <c:pt idx="232">
                  <c:v>912</c:v>
                </c:pt>
                <c:pt idx="233">
                  <c:v>837</c:v>
                </c:pt>
                <c:pt idx="234">
                  <c:v>790</c:v>
                </c:pt>
                <c:pt idx="235">
                  <c:v>754</c:v>
                </c:pt>
                <c:pt idx="236">
                  <c:v>764</c:v>
                </c:pt>
                <c:pt idx="237">
                  <c:v>742</c:v>
                </c:pt>
                <c:pt idx="238">
                  <c:v>716</c:v>
                </c:pt>
                <c:pt idx="239">
                  <c:v>691</c:v>
                </c:pt>
                <c:pt idx="240">
                  <c:v>640</c:v>
                </c:pt>
                <c:pt idx="241">
                  <c:v>581</c:v>
                </c:pt>
                <c:pt idx="242">
                  <c:v>560</c:v>
                </c:pt>
                <c:pt idx="243" formatCode="General">
                  <c:v>566</c:v>
                </c:pt>
                <c:pt idx="244" formatCode="General">
                  <c:v>572</c:v>
                </c:pt>
                <c:pt idx="245" formatCode="General">
                  <c:v>548</c:v>
                </c:pt>
                <c:pt idx="246" formatCode="General">
                  <c:v>497</c:v>
                </c:pt>
                <c:pt idx="247" formatCode="General">
                  <c:v>468</c:v>
                </c:pt>
                <c:pt idx="248" formatCode="General">
                  <c:v>441</c:v>
                </c:pt>
                <c:pt idx="249" formatCode="General">
                  <c:v>4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86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4835-4E6D-B4DA-45D31FA05971}"/>
                </c:ext>
              </c:extLst>
            </c:dLbl>
            <c:dLbl>
              <c:idx val="207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4835-4E6D-B4DA-45D31FA05971}"/>
                </c:ext>
              </c:extLst>
            </c:dLbl>
            <c:dLbl>
              <c:idx val="242"/>
              <c:tx>
                <c:rich>
                  <a:bodyPr/>
                  <a:lstStyle/>
                  <a:p>
                    <a:r>
                      <a:rPr lang="en-US" dirty="0"/>
                      <a:t>1 586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4835-4E6D-B4DA-45D31FA059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51</c:f>
              <c:numCache>
                <c:formatCode>m/d/yyyy</c:formatCode>
                <c:ptCount val="25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</c:numCache>
            </c:numRef>
          </c:cat>
          <c:val>
            <c:numRef>
              <c:f>Sheet1!$B$2:$B$251</c:f>
              <c:numCache>
                <c:formatCode>#,##0</c:formatCode>
                <c:ptCount val="250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  <c:pt idx="233">
                  <c:v>1513</c:v>
                </c:pt>
                <c:pt idx="234">
                  <c:v>1550</c:v>
                </c:pt>
                <c:pt idx="235">
                  <c:v>1557</c:v>
                </c:pt>
                <c:pt idx="236">
                  <c:v>1515</c:v>
                </c:pt>
                <c:pt idx="237">
                  <c:v>1494</c:v>
                </c:pt>
                <c:pt idx="238">
                  <c:v>1523</c:v>
                </c:pt>
                <c:pt idx="239">
                  <c:v>1559</c:v>
                </c:pt>
                <c:pt idx="240">
                  <c:v>1547</c:v>
                </c:pt>
                <c:pt idx="241">
                  <c:v>1565</c:v>
                </c:pt>
                <c:pt idx="242">
                  <c:v>1596</c:v>
                </c:pt>
                <c:pt idx="243">
                  <c:v>1613</c:v>
                </c:pt>
                <c:pt idx="244">
                  <c:v>1586</c:v>
                </c:pt>
                <c:pt idx="245">
                  <c:v>1557</c:v>
                </c:pt>
                <c:pt idx="246">
                  <c:v>1546</c:v>
                </c:pt>
                <c:pt idx="247">
                  <c:v>1574</c:v>
                </c:pt>
                <c:pt idx="248">
                  <c:v>1593</c:v>
                </c:pt>
                <c:pt idx="249">
                  <c:v>15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51</c:f>
              <c:numCache>
                <c:formatCode>m/d/yyyy</c:formatCode>
                <c:ptCount val="250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</c:numCache>
            </c:numRef>
          </c:cat>
          <c:val>
            <c:numRef>
              <c:f>Sheet1!$C$2:$C$251</c:f>
              <c:numCache>
                <c:formatCode>#,##0</c:formatCode>
                <c:ptCount val="25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09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9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9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chart" Target="../charts/chart4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chart" Target="../charts/chart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2.xml"/><Relationship Id="rId5" Type="http://schemas.openxmlformats.org/officeDocument/2006/relationships/tags" Target="../tags/tag7.xml"/><Relationship Id="rId10" Type="http://schemas.openxmlformats.org/officeDocument/2006/relationships/chart" Target="../charts/chart1.xml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r>
              <a:rPr lang="cs-CZ" sz="3600" b="1" i="1" dirty="0"/>
              <a:t>- </a:t>
            </a:r>
            <a:r>
              <a:rPr lang="cs-CZ" sz="3600" b="1" i="1"/>
              <a:t>aktualizace 09.05</a:t>
            </a:r>
            <a:r>
              <a:rPr lang="cs-CZ" sz="3600" b="1" i="1" dirty="0"/>
              <a:t>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901500117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821586111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489304074"/>
              </p:ext>
            </p:extLst>
          </p:nvPr>
        </p:nvGraphicFramePr>
        <p:xfrm>
          <a:off x="409660" y="3984266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896032573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1255241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2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9171643"/>
              </p:ext>
            </p:extLst>
          </p:nvPr>
        </p:nvGraphicFramePr>
        <p:xfrm>
          <a:off x="199580" y="1147680"/>
          <a:ext cx="11792839" cy="5326545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5577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164</TotalTime>
  <Words>1039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Pohlová Radka Mgr.</cp:lastModifiedBy>
  <cp:revision>665</cp:revision>
  <dcterms:created xsi:type="dcterms:W3CDTF">2020-08-08T14:25:07Z</dcterms:created>
  <dcterms:modified xsi:type="dcterms:W3CDTF">2021-05-09T03:36:38Z</dcterms:modified>
</cp:coreProperties>
</file>